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E24D93-8E00-4757-9C81-82ABEECACE3C}" v="49" dt="2023-03-13T22:35:40.7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94" d="100"/>
          <a:sy n="94" d="100"/>
        </p:scale>
        <p:origin x="108" y="822"/>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5DE24D93-8E00-4757-9C81-82ABEECACE3C}"/>
    <pc:docChg chg="modSld">
      <pc:chgData name="Roberto Gallardo" userId="49a044883f185952" providerId="LiveId" clId="{5DE24D93-8E00-4757-9C81-82ABEECACE3C}" dt="2023-03-13T22:35:57.109" v="214" actId="1076"/>
      <pc:docMkLst>
        <pc:docMk/>
      </pc:docMkLst>
      <pc:sldChg chg="addSp modSp mod">
        <pc:chgData name="Roberto Gallardo" userId="49a044883f185952" providerId="LiveId" clId="{5DE24D93-8E00-4757-9C81-82ABEECACE3C}" dt="2023-03-13T22:30:41.612" v="10" actId="1036"/>
        <pc:sldMkLst>
          <pc:docMk/>
          <pc:sldMk cId="1418533539" sldId="271"/>
        </pc:sldMkLst>
        <pc:picChg chg="add mod">
          <ac:chgData name="Roberto Gallardo" userId="49a044883f185952" providerId="LiveId" clId="{5DE24D93-8E00-4757-9C81-82ABEECACE3C}" dt="2023-03-13T22:30:41.612" v="10" actId="1036"/>
          <ac:picMkLst>
            <pc:docMk/>
            <pc:sldMk cId="1418533539" sldId="271"/>
            <ac:picMk id="6" creationId="{8B8BCAF1-4D90-42A5-D65B-EC1C48C40595}"/>
          </ac:picMkLst>
        </pc:picChg>
      </pc:sldChg>
      <pc:sldChg chg="addSp modSp mod">
        <pc:chgData name="Roberto Gallardo" userId="49a044883f185952" providerId="LiveId" clId="{5DE24D93-8E00-4757-9C81-82ABEECACE3C}" dt="2023-03-13T22:32:33.765" v="73" actId="1076"/>
        <pc:sldMkLst>
          <pc:docMk/>
          <pc:sldMk cId="2124848710" sldId="281"/>
        </pc:sldMkLst>
        <pc:picChg chg="add mod">
          <ac:chgData name="Roberto Gallardo" userId="49a044883f185952" providerId="LiveId" clId="{5DE24D93-8E00-4757-9C81-82ABEECACE3C}" dt="2023-03-13T22:32:33.765" v="73" actId="1076"/>
          <ac:picMkLst>
            <pc:docMk/>
            <pc:sldMk cId="2124848710" sldId="281"/>
            <ac:picMk id="6" creationId="{D4584B85-3F52-52D2-73BA-F891EE58BF59}"/>
          </ac:picMkLst>
        </pc:picChg>
      </pc:sldChg>
      <pc:sldChg chg="addSp modSp mod">
        <pc:chgData name="Roberto Gallardo" userId="49a044883f185952" providerId="LiveId" clId="{5DE24D93-8E00-4757-9C81-82ABEECACE3C}" dt="2023-03-13T22:32:48.917" v="83" actId="1076"/>
        <pc:sldMkLst>
          <pc:docMk/>
          <pc:sldMk cId="2028175529" sldId="282"/>
        </pc:sldMkLst>
        <pc:picChg chg="add mod">
          <ac:chgData name="Roberto Gallardo" userId="49a044883f185952" providerId="LiveId" clId="{5DE24D93-8E00-4757-9C81-82ABEECACE3C}" dt="2023-03-13T22:32:48.917" v="83" actId="1076"/>
          <ac:picMkLst>
            <pc:docMk/>
            <pc:sldMk cId="2028175529" sldId="282"/>
            <ac:picMk id="7" creationId="{7EA8BBA5-F05B-38FC-51C4-EA7B4F0A017A}"/>
          </ac:picMkLst>
        </pc:picChg>
      </pc:sldChg>
      <pc:sldChg chg="addSp modSp mod">
        <pc:chgData name="Roberto Gallardo" userId="49a044883f185952" providerId="LiveId" clId="{5DE24D93-8E00-4757-9C81-82ABEECACE3C}" dt="2023-03-13T22:33:03.933" v="93" actId="1076"/>
        <pc:sldMkLst>
          <pc:docMk/>
          <pc:sldMk cId="1326517747" sldId="283"/>
        </pc:sldMkLst>
        <pc:picChg chg="add mod">
          <ac:chgData name="Roberto Gallardo" userId="49a044883f185952" providerId="LiveId" clId="{5DE24D93-8E00-4757-9C81-82ABEECACE3C}" dt="2023-03-13T22:33:03.933" v="93" actId="1076"/>
          <ac:picMkLst>
            <pc:docMk/>
            <pc:sldMk cId="1326517747" sldId="283"/>
            <ac:picMk id="7" creationId="{281DDC12-B264-F69F-111F-F73E1B8E248E}"/>
          </ac:picMkLst>
        </pc:picChg>
      </pc:sldChg>
      <pc:sldChg chg="addSp modSp mod">
        <pc:chgData name="Roberto Gallardo" userId="49a044883f185952" providerId="LiveId" clId="{5DE24D93-8E00-4757-9C81-82ABEECACE3C}" dt="2023-03-13T22:33:20.016" v="103" actId="1076"/>
        <pc:sldMkLst>
          <pc:docMk/>
          <pc:sldMk cId="783739251" sldId="284"/>
        </pc:sldMkLst>
        <pc:picChg chg="add mod">
          <ac:chgData name="Roberto Gallardo" userId="49a044883f185952" providerId="LiveId" clId="{5DE24D93-8E00-4757-9C81-82ABEECACE3C}" dt="2023-03-13T22:33:20.016" v="103" actId="1076"/>
          <ac:picMkLst>
            <pc:docMk/>
            <pc:sldMk cId="783739251" sldId="284"/>
            <ac:picMk id="7" creationId="{597175F0-A139-B9C7-E569-628C5E43892F}"/>
          </ac:picMkLst>
        </pc:picChg>
      </pc:sldChg>
      <pc:sldChg chg="addSp modSp mod">
        <pc:chgData name="Roberto Gallardo" userId="49a044883f185952" providerId="LiveId" clId="{5DE24D93-8E00-4757-9C81-82ABEECACE3C}" dt="2023-03-13T22:33:34.161" v="112" actId="1076"/>
        <pc:sldMkLst>
          <pc:docMk/>
          <pc:sldMk cId="1676122233" sldId="285"/>
        </pc:sldMkLst>
        <pc:picChg chg="add mod">
          <ac:chgData name="Roberto Gallardo" userId="49a044883f185952" providerId="LiveId" clId="{5DE24D93-8E00-4757-9C81-82ABEECACE3C}" dt="2023-03-13T22:33:34.161" v="112" actId="1076"/>
          <ac:picMkLst>
            <pc:docMk/>
            <pc:sldMk cId="1676122233" sldId="285"/>
            <ac:picMk id="7" creationId="{CB36230A-3FF1-6494-5702-A1A6094D5A8C}"/>
          </ac:picMkLst>
        </pc:picChg>
      </pc:sldChg>
      <pc:sldChg chg="addSp modSp mod">
        <pc:chgData name="Roberto Gallardo" userId="49a044883f185952" providerId="LiveId" clId="{5DE24D93-8E00-4757-9C81-82ABEECACE3C}" dt="2023-03-13T22:33:54.432" v="126" actId="1076"/>
        <pc:sldMkLst>
          <pc:docMk/>
          <pc:sldMk cId="3100398757" sldId="286"/>
        </pc:sldMkLst>
        <pc:picChg chg="add mod">
          <ac:chgData name="Roberto Gallardo" userId="49a044883f185952" providerId="LiveId" clId="{5DE24D93-8E00-4757-9C81-82ABEECACE3C}" dt="2023-03-13T22:33:54.432" v="126" actId="1076"/>
          <ac:picMkLst>
            <pc:docMk/>
            <pc:sldMk cId="3100398757" sldId="286"/>
            <ac:picMk id="7" creationId="{47D1E6E9-D6E0-5A3E-6650-6DF27434B8A2}"/>
          </ac:picMkLst>
        </pc:picChg>
      </pc:sldChg>
      <pc:sldChg chg="addSp modSp mod">
        <pc:chgData name="Roberto Gallardo" userId="49a044883f185952" providerId="LiveId" clId="{5DE24D93-8E00-4757-9C81-82ABEECACE3C}" dt="2023-03-13T22:34:10.789" v="154" actId="1035"/>
        <pc:sldMkLst>
          <pc:docMk/>
          <pc:sldMk cId="1546475425" sldId="287"/>
        </pc:sldMkLst>
        <pc:picChg chg="add mod">
          <ac:chgData name="Roberto Gallardo" userId="49a044883f185952" providerId="LiveId" clId="{5DE24D93-8E00-4757-9C81-82ABEECACE3C}" dt="2023-03-13T22:34:10.789" v="154" actId="1035"/>
          <ac:picMkLst>
            <pc:docMk/>
            <pc:sldMk cId="1546475425" sldId="287"/>
            <ac:picMk id="7" creationId="{A2EAE2F5-3F7F-6BE1-95A3-E587D91361A7}"/>
          </ac:picMkLst>
        </pc:picChg>
      </pc:sldChg>
      <pc:sldChg chg="addSp modSp mod">
        <pc:chgData name="Roberto Gallardo" userId="49a044883f185952" providerId="LiveId" clId="{5DE24D93-8E00-4757-9C81-82ABEECACE3C}" dt="2023-03-13T22:34:47.201" v="174" actId="1076"/>
        <pc:sldMkLst>
          <pc:docMk/>
          <pc:sldMk cId="1380517306" sldId="288"/>
        </pc:sldMkLst>
        <pc:picChg chg="add mod">
          <ac:chgData name="Roberto Gallardo" userId="49a044883f185952" providerId="LiveId" clId="{5DE24D93-8E00-4757-9C81-82ABEECACE3C}" dt="2023-03-13T22:34:47.201" v="174" actId="1076"/>
          <ac:picMkLst>
            <pc:docMk/>
            <pc:sldMk cId="1380517306" sldId="288"/>
            <ac:picMk id="7" creationId="{DF988686-B360-EBE0-08FE-C06524C3AB5C}"/>
          </ac:picMkLst>
        </pc:picChg>
      </pc:sldChg>
      <pc:sldChg chg="addSp modSp mod">
        <pc:chgData name="Roberto Gallardo" userId="49a044883f185952" providerId="LiveId" clId="{5DE24D93-8E00-4757-9C81-82ABEECACE3C}" dt="2023-03-13T22:35:02.809" v="184" actId="1076"/>
        <pc:sldMkLst>
          <pc:docMk/>
          <pc:sldMk cId="1388671151" sldId="289"/>
        </pc:sldMkLst>
        <pc:picChg chg="add mod">
          <ac:chgData name="Roberto Gallardo" userId="49a044883f185952" providerId="LiveId" clId="{5DE24D93-8E00-4757-9C81-82ABEECACE3C}" dt="2023-03-13T22:35:02.809" v="184" actId="1076"/>
          <ac:picMkLst>
            <pc:docMk/>
            <pc:sldMk cId="1388671151" sldId="289"/>
            <ac:picMk id="7" creationId="{CAF389F5-30E2-58B9-869A-AF473E333F11}"/>
          </ac:picMkLst>
        </pc:picChg>
      </pc:sldChg>
      <pc:sldChg chg="addSp modSp mod">
        <pc:chgData name="Roberto Gallardo" userId="49a044883f185952" providerId="LiveId" clId="{5DE24D93-8E00-4757-9C81-82ABEECACE3C}" dt="2023-03-13T22:35:35.037" v="200" actId="1076"/>
        <pc:sldMkLst>
          <pc:docMk/>
          <pc:sldMk cId="2355376039" sldId="290"/>
        </pc:sldMkLst>
        <pc:picChg chg="add mod">
          <ac:chgData name="Roberto Gallardo" userId="49a044883f185952" providerId="LiveId" clId="{5DE24D93-8E00-4757-9C81-82ABEECACE3C}" dt="2023-03-13T22:35:35.037" v="200" actId="1076"/>
          <ac:picMkLst>
            <pc:docMk/>
            <pc:sldMk cId="2355376039" sldId="290"/>
            <ac:picMk id="8" creationId="{CCD7A21A-2EE8-EB36-E689-10DB104E52BC}"/>
          </ac:picMkLst>
        </pc:picChg>
      </pc:sldChg>
      <pc:sldChg chg="addSp modSp mod">
        <pc:chgData name="Roberto Gallardo" userId="49a044883f185952" providerId="LiveId" clId="{5DE24D93-8E00-4757-9C81-82ABEECACE3C}" dt="2023-03-13T22:35:57.109" v="214" actId="1076"/>
        <pc:sldMkLst>
          <pc:docMk/>
          <pc:sldMk cId="3757257295" sldId="291"/>
        </pc:sldMkLst>
        <pc:picChg chg="add mod">
          <ac:chgData name="Roberto Gallardo" userId="49a044883f185952" providerId="LiveId" clId="{5DE24D93-8E00-4757-9C81-82ABEECACE3C}" dt="2023-03-13T22:35:57.109" v="214" actId="1076"/>
          <ac:picMkLst>
            <pc:docMk/>
            <pc:sldMk cId="3757257295" sldId="291"/>
            <ac:picMk id="8" creationId="{AB33835C-A147-6254-CDD2-41150707C6BD}"/>
          </ac:picMkLst>
        </pc:picChg>
      </pc:sldChg>
      <pc:sldChg chg="addSp modSp mod">
        <pc:chgData name="Roberto Gallardo" userId="49a044883f185952" providerId="LiveId" clId="{5DE24D93-8E00-4757-9C81-82ABEECACE3C}" dt="2023-03-13T22:34:26.225" v="162" actId="1076"/>
        <pc:sldMkLst>
          <pc:docMk/>
          <pc:sldMk cId="1259856727" sldId="292"/>
        </pc:sldMkLst>
        <pc:picChg chg="add mod">
          <ac:chgData name="Roberto Gallardo" userId="49a044883f185952" providerId="LiveId" clId="{5DE24D93-8E00-4757-9C81-82ABEECACE3C}" dt="2023-03-13T22:34:26.225" v="162" actId="1076"/>
          <ac:picMkLst>
            <pc:docMk/>
            <pc:sldMk cId="1259856727" sldId="292"/>
            <ac:picMk id="7" creationId="{D18C3979-0E6D-E592-E2E8-32C751AC8F6B}"/>
          </ac:picMkLst>
        </pc:picChg>
      </pc:sldChg>
      <pc:sldChg chg="addSp modSp mod">
        <pc:chgData name="Roberto Gallardo" userId="49a044883f185952" providerId="LiveId" clId="{5DE24D93-8E00-4757-9C81-82ABEECACE3C}" dt="2023-03-13T22:32:19.924" v="64" actId="1076"/>
        <pc:sldMkLst>
          <pc:docMk/>
          <pc:sldMk cId="3324519687" sldId="293"/>
        </pc:sldMkLst>
        <pc:spChg chg="mod">
          <ac:chgData name="Roberto Gallardo" userId="49a044883f185952" providerId="LiveId" clId="{5DE24D93-8E00-4757-9C81-82ABEECACE3C}" dt="2023-03-13T22:31:40.178" v="39" actId="962"/>
          <ac:spMkLst>
            <pc:docMk/>
            <pc:sldMk cId="3324519687" sldId="293"/>
            <ac:spMk id="2" creationId="{C03B1400-5F72-D252-1DBE-EDCD6E63B07C}"/>
          </ac:spMkLst>
        </pc:spChg>
        <pc:picChg chg="add mod">
          <ac:chgData name="Roberto Gallardo" userId="49a044883f185952" providerId="LiveId" clId="{5DE24D93-8E00-4757-9C81-82ABEECACE3C}" dt="2023-03-13T22:32:19.924" v="64" actId="1076"/>
          <ac:picMkLst>
            <pc:docMk/>
            <pc:sldMk cId="3324519687" sldId="293"/>
            <ac:picMk id="7" creationId="{5F4DA3E8-B297-64BC-7966-A1C0530343D6}"/>
          </ac:picMkLst>
        </pc:picChg>
      </pc:sldChg>
      <pc:sldChg chg="addSp modSp mod">
        <pc:chgData name="Roberto Gallardo" userId="49a044883f185952" providerId="LiveId" clId="{5DE24D93-8E00-4757-9C81-82ABEECACE3C}" dt="2023-03-13T22:31:32.025" v="36" actId="1076"/>
        <pc:sldMkLst>
          <pc:docMk/>
          <pc:sldMk cId="3256182630" sldId="295"/>
        </pc:sldMkLst>
        <pc:picChg chg="add mod">
          <ac:chgData name="Roberto Gallardo" userId="49a044883f185952" providerId="LiveId" clId="{5DE24D93-8E00-4757-9C81-82ABEECACE3C}" dt="2023-03-13T22:31:32.025" v="36" actId="1076"/>
          <ac:picMkLst>
            <pc:docMk/>
            <pc:sldMk cId="3256182630" sldId="295"/>
            <ac:picMk id="7" creationId="{6D29D23F-24DC-6949-69A2-E040D12987C8}"/>
          </ac:picMkLst>
        </pc:picChg>
      </pc:sldChg>
      <pc:sldChg chg="addSp modSp mod">
        <pc:chgData name="Roberto Gallardo" userId="49a044883f185952" providerId="LiveId" clId="{5DE24D93-8E00-4757-9C81-82ABEECACE3C}" dt="2023-03-13T22:32:04.113" v="56" actId="1036"/>
        <pc:sldMkLst>
          <pc:docMk/>
          <pc:sldMk cId="4057156843" sldId="296"/>
        </pc:sldMkLst>
        <pc:picChg chg="add mod">
          <ac:chgData name="Roberto Gallardo" userId="49a044883f185952" providerId="LiveId" clId="{5DE24D93-8E00-4757-9C81-82ABEECACE3C}" dt="2023-03-13T22:32:04.113" v="56" actId="1036"/>
          <ac:picMkLst>
            <pc:docMk/>
            <pc:sldMk cId="4057156843" sldId="296"/>
            <ac:picMk id="7" creationId="{03406858-69D7-E8D8-4D2C-363599843553}"/>
          </ac:picMkLst>
        </pc:picChg>
      </pc:sldChg>
      <pc:sldChg chg="addSp modSp mod">
        <pc:chgData name="Roberto Gallardo" userId="49a044883f185952" providerId="LiveId" clId="{5DE24D93-8E00-4757-9C81-82ABEECACE3C}" dt="2023-03-13T22:31:15.737" v="27" actId="1076"/>
        <pc:sldMkLst>
          <pc:docMk/>
          <pc:sldMk cId="2080110827" sldId="297"/>
        </pc:sldMkLst>
        <pc:picChg chg="add mod">
          <ac:chgData name="Roberto Gallardo" userId="49a044883f185952" providerId="LiveId" clId="{5DE24D93-8E00-4757-9C81-82ABEECACE3C}" dt="2023-03-13T22:31:15.737" v="27" actId="1076"/>
          <ac:picMkLst>
            <pc:docMk/>
            <pc:sldMk cId="2080110827" sldId="297"/>
            <ac:picMk id="6" creationId="{4A6AFE9D-3C43-3B80-035D-07675AF499CE}"/>
          </ac:picMkLst>
        </pc:picChg>
      </pc:sldChg>
      <pc:sldChg chg="addSp modSp mod">
        <pc:chgData name="Roberto Gallardo" userId="49a044883f185952" providerId="LiveId" clId="{5DE24D93-8E00-4757-9C81-82ABEECACE3C}" dt="2023-03-13T22:30:58.177" v="18" actId="1076"/>
        <pc:sldMkLst>
          <pc:docMk/>
          <pc:sldMk cId="1532666867" sldId="298"/>
        </pc:sldMkLst>
        <pc:picChg chg="add mod">
          <ac:chgData name="Roberto Gallardo" userId="49a044883f185952" providerId="LiveId" clId="{5DE24D93-8E00-4757-9C81-82ABEECACE3C}" dt="2023-03-13T22:30:58.177" v="18" actId="1076"/>
          <ac:picMkLst>
            <pc:docMk/>
            <pc:sldMk cId="1532666867" sldId="298"/>
            <ac:picMk id="6" creationId="{7172273C-C994-0E41-16A4-97BA67C957E6}"/>
          </ac:picMkLst>
        </pc:picChg>
      </pc:sldChg>
      <pc:sldChg chg="addSp modSp mod">
        <pc:chgData name="Roberto Gallardo" userId="49a044883f185952" providerId="LiveId" clId="{5DE24D93-8E00-4757-9C81-82ABEECACE3C}" dt="2023-03-13T22:35:17.773" v="193" actId="1076"/>
        <pc:sldMkLst>
          <pc:docMk/>
          <pc:sldMk cId="1951376777" sldId="299"/>
        </pc:sldMkLst>
        <pc:picChg chg="add mod">
          <ac:chgData name="Roberto Gallardo" userId="49a044883f185952" providerId="LiveId" clId="{5DE24D93-8E00-4757-9C81-82ABEECACE3C}" dt="2023-03-13T22:35:17.773" v="193" actId="1076"/>
          <ac:picMkLst>
            <pc:docMk/>
            <pc:sldMk cId="1951376777" sldId="299"/>
            <ac:picMk id="7" creationId="{ABDDE66E-3663-9CD6-6793-94B679CE6F9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Davie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0A7FED8-7023-B026-50E4-8CF188873558}"/>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9DA6A59F-14FE-A2C3-8983-58EEF2979439}"/>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8B8BCAF1-4D90-42A5-D65B-EC1C48C405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40378"/>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172273C-C994-0E41-16A4-97BA67C957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632" y="1028700"/>
            <a:ext cx="7600535" cy="5374772"/>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4A6AFE9D-3C43-3B80-035D-07675AF499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D296E70-86DA-EC83-75FE-AB3BA310EEBE}"/>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6D29D23F-24DC-6949-69A2-E040D12987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00EF3279-A6B8-65BB-7942-269F15FB6F02}"/>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03406858-69D7-E8D8-4D2C-3635998435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7389"/>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0216F171-1A96-9075-F3A6-8B3F415D76ED}"/>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5F4DA3E8-B297-64BC-7966-A1C0530343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88664F3-C5EA-D4B9-0E07-1DEECB18EDFD}"/>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D4584B85-3F52-52D2-73BA-F891EE58BF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1"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6DB7030-F07F-B0C8-9813-E828FDA8AE5E}"/>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7EA8BBA5-F05B-38FC-51C4-EA7B4F0A01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0FE81E3-30B1-C487-610D-EBE1D73AA36E}"/>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281DDC12-B264-F69F-111F-F73E1B8E2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F517033-C3C4-4C92-7AC0-EB2FC40E304E}"/>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597175F0-A139-B9C7-E569-628C5E4389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8490993-44AA-8E5E-0C5E-D15326FDBBF1}"/>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CB36230A-3FF1-6494-5702-A1A6094D5A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41"/>
            <a:ext cx="6394147" cy="452166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2E4DDD3-521E-DA6F-54E0-F4FCDC096567}"/>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47D1E6E9-D6E0-5A3E-6650-6DF27434B8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1684"/>
            <a:ext cx="6396664" cy="4523446"/>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0ACC9E9-206F-DC66-6CE2-3D83B4CB1A34}"/>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A2EAE2F5-3F7F-6BE1-95A3-E587D91361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3636"/>
            <a:ext cx="6405880" cy="4529964"/>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3FCAC84-E64B-103B-EABD-B0DD95B60840}"/>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D18C3979-0E6D-E592-E2E8-32C751AC8F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4"/>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00BFF32-EB93-F88B-0DDA-1D9625EEF427}"/>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DF988686-B360-EBE0-08FE-C06524C3AB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65EACCE-3AF0-3C76-45A5-78A0C492EEA1}"/>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CAF389F5-30E2-58B9-869A-AF473E333F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B011CCBC-7A35-0204-4E9F-2DEF96983E21}"/>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ABDDE66E-3663-9CD6-6793-94B679CE6F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5505B56A-5917-B1B7-4B61-B3BCB555D47A}"/>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CCD7A21A-2EE8-EB36-E689-10DB104E52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5611" y="1424494"/>
            <a:ext cx="6374897" cy="450805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2C40B0E6-39F9-F382-F4B9-A82852F3F190}"/>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1D9D8763-8272-BCFA-E8FA-DFE890A3863A}"/>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AB33835C-A147-6254-CDD2-41150707C6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754F13FF-02D0-7184-2F45-8829228AB638}"/>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CD1A2A1-7724-CCDA-741E-0FB1CF7B60A1}"/>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9F4CA8A-1503-089E-4E45-076AC22A4615}"/>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2624526"/>
            <a:ext cx="1198148" cy="2015301"/>
            <a:chOff x="10485745" y="2875010"/>
            <a:chExt cx="1198148" cy="2015301"/>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48008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875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884952"/>
              <a:ext cx="0" cy="59513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372641"/>
              <a:ext cx="0" cy="51767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45625079-9F8C-6906-E28C-B6A2C3AF5D56}"/>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FB0EDF98-340F-EF2F-2D0D-192528CEBE9D}"/>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B642E00-13AE-7CB0-DAAA-9DBEBC4E64BC}"/>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0291364D-0067-D1FD-3739-7EC8D4A9BA48}"/>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F435292-879C-1711-6C92-4C0BC4906078}"/>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FFB49FF-10ED-043F-0D05-02E5EA53E375}"/>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3968D6C7-4DAA-8FF5-CAF8-AE3AF492ACC0}"/>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8C3D769F-D611-C3D7-C6CA-BFBE5E54399D}"/>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16</TotalTime>
  <Words>1463</Words>
  <Application>Microsoft Office PowerPoint</Application>
  <PresentationFormat>Widescreen</PresentationFormat>
  <Paragraphs>136</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59</cp:revision>
  <dcterms:created xsi:type="dcterms:W3CDTF">2022-07-04T13:32:28Z</dcterms:created>
  <dcterms:modified xsi:type="dcterms:W3CDTF">2023-03-13T22:36:00Z</dcterms:modified>
</cp:coreProperties>
</file>